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  <p:sldMasterId id="2147483650" r:id="rId3"/>
    <p:sldMasterId id="2147483651" r:id="rId4"/>
    <p:sldMasterId id="2147483652" r:id="rId5"/>
    <p:sldMasterId id="2147483653" r:id="rId6"/>
    <p:sldMasterId id="2147483654" r:id="rId7"/>
    <p:sldMasterId id="2147483655" r:id="rId8"/>
    <p:sldMasterId id="2147483656" r:id="rId9"/>
    <p:sldMasterId id="2147483657" r:id="rId10"/>
    <p:sldMasterId id="2147483658" r:id="rId11"/>
    <p:sldMasterId id="2147483659" r:id="rId12"/>
    <p:sldMasterId id="2147483660" r:id="rId13"/>
    <p:sldMasterId id="2147483661" r:id="rId14"/>
  </p:sldMasterIdLst>
  <p:sldIdLst>
    <p:sldId id="256" r:id="rId15"/>
    <p:sldId id="267" r:id="rId16"/>
    <p:sldId id="269" r:id="rId17"/>
    <p:sldId id="287" r:id="rId18"/>
    <p:sldId id="288" r:id="rId19"/>
    <p:sldId id="270" r:id="rId20"/>
    <p:sldId id="271" r:id="rId21"/>
    <p:sldId id="273" r:id="rId22"/>
    <p:sldId id="274" r:id="rId23"/>
    <p:sldId id="272" r:id="rId24"/>
    <p:sldId id="275" r:id="rId25"/>
    <p:sldId id="276" r:id="rId26"/>
    <p:sldId id="284" r:id="rId27"/>
    <p:sldId id="285" r:id="rId28"/>
    <p:sldId id="286" r:id="rId29"/>
    <p:sldId id="278" r:id="rId30"/>
    <p:sldId id="279" r:id="rId31"/>
    <p:sldId id="283" r:id="rId32"/>
    <p:sldId id="268" r:id="rId33"/>
  </p:sldIdLst>
  <p:sldSz cx="10160000" cy="7620000"/>
  <p:notesSz cx="7023100" cy="9309100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5pPr>
    <a:lvl6pPr marL="22860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6pPr>
    <a:lvl7pPr marL="27432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7pPr>
    <a:lvl8pPr marL="32004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8pPr>
    <a:lvl9pPr marL="36576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FF"/>
    <a:srgbClr val="FF9933"/>
    <a:srgbClr val="FFCC99"/>
    <a:srgbClr val="D2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>
        <p:scale>
          <a:sx n="90" d="100"/>
          <a:sy n="90" d="100"/>
        </p:scale>
        <p:origin x="-1800" y="-228"/>
      </p:cViewPr>
      <p:guideLst>
        <p:guide orient="horz" pos="2400"/>
        <p:guide pos="32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3416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337337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564666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935180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241836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37165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53555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863672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59291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912803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189360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32398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53619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5024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5024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906708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75725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160537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918432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058419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105375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694760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7573011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94663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5778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332436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6125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668302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655421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740303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278956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221101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0781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47251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760058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49084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460397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0183583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476047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52400"/>
            <a:ext cx="2044700" cy="7467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52400"/>
            <a:ext cx="5981700" cy="7467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63130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033366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938620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396784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706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962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851953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941112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27401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24257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892354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657956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869457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821379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04257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246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414128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035223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036271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755053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7139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794389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655080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505153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450168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577385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0076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809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8829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952310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74320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246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79273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73764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3246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324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75351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6015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6959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91697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6631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658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08430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87090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132153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96398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18047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38597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029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34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6183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6677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27003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3699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36657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9346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408859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623429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25210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442765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69661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0"/>
            <a:ext cx="2044700" cy="67183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0"/>
            <a:ext cx="5981700" cy="67183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0139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48970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89642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318574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6088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72635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84944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9450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6124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96690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65384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63943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702456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907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118261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630085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7251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36356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720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52218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79640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151276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94132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65536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043146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57802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5811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520443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080925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334355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45486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027291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0160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9745756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26858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40049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705640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7274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70459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196200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971523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388764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52254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669412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616168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137461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660584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31188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820681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47668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5246406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75349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1072122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7568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37984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384964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237139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837341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013138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595236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203200"/>
            <a:ext cx="2286000" cy="6604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03200"/>
            <a:ext cx="6705600" cy="66040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4860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8" name="Rectangle 2"/>
          <p:cNvSpPr>
            <a:spLocks noChangeArrowheads="1"/>
          </p:cNvSpPr>
          <p:nvPr>
            <p:ph type="body" idx="1"/>
          </p:nvPr>
        </p:nvSpPr>
        <p:spPr bwMode="auto">
          <a:xfrm>
            <a:off x="990600" y="2116138"/>
            <a:ext cx="817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43" name="Rectangle 2"/>
          <p:cNvSpPr>
            <a:spLocks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152400"/>
            <a:ext cx="8178800" cy="200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1267" name="Rectangle 2"/>
          <p:cNvSpPr>
            <a:spLocks noChangeArrowheads="1"/>
          </p:cNvSpPr>
          <p:nvPr>
            <p:ph type="body" idx="1"/>
          </p:nvPr>
        </p:nvSpPr>
        <p:spPr bwMode="auto">
          <a:xfrm>
            <a:off x="990600" y="2159000"/>
            <a:ext cx="8178800" cy="546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2291" name="Rectangle 2"/>
          <p:cNvSpPr>
            <a:spLocks noChangeArrowheads="1"/>
          </p:cNvSpPr>
          <p:nvPr>
            <p:ph type="body" idx="1"/>
          </p:nvPr>
        </p:nvSpPr>
        <p:spPr bwMode="auto">
          <a:xfrm>
            <a:off x="6070600" y="2116138"/>
            <a:ext cx="309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3315" name="Rectangle 2"/>
          <p:cNvSpPr>
            <a:spLocks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ChangeArrowheads="1"/>
          </p:cNvSpPr>
          <p:nvPr>
            <p:ph type="body" idx="1"/>
          </p:nvPr>
        </p:nvSpPr>
        <p:spPr bwMode="auto">
          <a:xfrm>
            <a:off x="990600" y="990600"/>
            <a:ext cx="8178800" cy="563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2324100"/>
            <a:ext cx="8178800" cy="29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"/>
          <p:cNvSpPr>
            <a:spLocks noChangeArrowheads="1"/>
          </p:cNvSpPr>
          <p:nvPr>
            <p:ph type="body" idx="1"/>
          </p:nvPr>
        </p:nvSpPr>
        <p:spPr bwMode="auto">
          <a:xfrm>
            <a:off x="990600" y="3924300"/>
            <a:ext cx="8178800" cy="279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4099" name="Rectangle 2"/>
          <p:cNvSpPr>
            <a:spLocks noChangeArrowheads="1"/>
          </p:cNvSpPr>
          <p:nvPr>
            <p:ph type="title"/>
          </p:nvPr>
        </p:nvSpPr>
        <p:spPr bwMode="auto">
          <a:xfrm>
            <a:off x="990600" y="0"/>
            <a:ext cx="8178800" cy="386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"/>
          <p:cNvSpPr>
            <a:spLocks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7171" name="Rectangle 2"/>
          <p:cNvSpPr>
            <a:spLocks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8195" name="Rectangle 2"/>
          <p:cNvSpPr>
            <a:spLocks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"/>
          <p:cNvSpPr>
            <a:spLocks noChangeArrowheads="1"/>
          </p:cNvSpPr>
          <p:nvPr>
            <p:ph type="title"/>
          </p:nvPr>
        </p:nvSpPr>
        <p:spPr bwMode="auto">
          <a:xfrm>
            <a:off x="990600" y="203200"/>
            <a:ext cx="8178800" cy="190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2398713" y="7086600"/>
            <a:ext cx="5362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1: filling HLT w/ cold H2O</a:t>
            </a: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298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336435" y="7068979"/>
            <a:ext cx="691650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’: fly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LT to MLT to B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840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259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HOP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178040" y="7068979"/>
            <a:ext cx="38039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8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boi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2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3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4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877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319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413709" y="7068979"/>
            <a:ext cx="762869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9: coo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and filling fermenter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3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90385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2648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359727" y="7068979"/>
            <a:ext cx="461504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a: cleaning 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3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0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489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60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359727" y="7068979"/>
            <a:ext cx="461504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b: cleaning 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6522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02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02606" y="7068979"/>
            <a:ext cx="998786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c: cleaning MLT (repeat a/b/c until MLT clean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26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960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879146" y="7068979"/>
            <a:ext cx="434413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1a: cleaning B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3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4503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247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452498" y="7068979"/>
            <a:ext cx="922528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1b: cleaning BK (repeat a/b until BK clean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2302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5314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144188" y="7068979"/>
            <a:ext cx="382636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2: final rinse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5110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410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8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9102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022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518143" y="7068979"/>
            <a:ext cx="844141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2: heating and recirculating H2O in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137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876123" y="7068979"/>
            <a:ext cx="640778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3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filling MLT w/ heated H2O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5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2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18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1250142" y="7068979"/>
            <a:ext cx="76597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4: refilling 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HLT w/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2O (as needed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5728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43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761801" y="7068979"/>
            <a:ext cx="795410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5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heating and recirculating HLT/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940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1118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1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2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5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26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GRAIN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3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2" name="Straight Connector 26"/>
            <p:cNvCxnSpPr>
              <a:cxnSpLocks noChangeShapeType="1"/>
              <a:stCxn id="134" idx="0"/>
              <a:endCxn id="133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3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68"/>
            <p:cNvCxnSpPr>
              <a:cxnSpLocks noChangeShapeType="1"/>
              <a:stCxn id="133" idx="1"/>
              <a:endCxn id="135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63" name="Rectangle 91"/>
          <p:cNvSpPr>
            <a:spLocks/>
          </p:cNvSpPr>
          <p:nvPr/>
        </p:nvSpPr>
        <p:spPr bwMode="auto">
          <a:xfrm>
            <a:off x="1337797" y="7068979"/>
            <a:ext cx="748442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6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recirculat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in heated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6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7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8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576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010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a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6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785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406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317211" y="7068979"/>
            <a:ext cx="895495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H2O to MLT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8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9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1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73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821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c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7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1288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Title &amp; Bullets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2712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ACAA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itle &amp; Bullets - Left">
  <a:themeElements>
    <a:clrScheme name="Title &amp; Bullets - Lef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Lef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Lef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itle &amp; Bullets - 2 Column">
  <a:themeElements>
    <a:clrScheme name="Title &amp; Bullets - 2 Colum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2 Colum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2 Colum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Title &amp; Bullets - Right">
  <a:themeElements>
    <a:clrScheme name="Title &amp; Bullets - Righ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Righ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Righ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Title, Bullets &amp; Photo">
  <a:themeElements>
    <a:clrScheme name="Title, Bullets &amp; Phot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, Bullets &amp; Photo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, Bullets &amp;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ullets">
  <a:themeElements>
    <a:clrScheme name="Bullet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itle - Center">
  <a:themeElements>
    <a:clrScheme name="Title - Cen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Center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Cen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le &amp; Subtitle">
  <a:themeElements>
    <a:clrScheme name="Title &amp; Subtit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hoto - Horizontal">
  <a:themeElements>
    <a:clrScheme name="Photo - Horizont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Photo - Horizontal Reflection">
  <a:themeElements>
    <a:clrScheme name="Photo - Horizont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hoto - Vertical">
  <a:themeElements>
    <a:clrScheme name="Photo - Vertic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Photo - Vertical Reflection">
  <a:themeElements>
    <a:clrScheme name="Photo - Vertic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Title - Top">
  <a:themeElements>
    <a:clrScheme name="Title - Top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Top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To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0</TotalTime>
  <Pages>0</Pages>
  <Words>731</Words>
  <Characters>0</Characters>
  <Application>Microsoft Office PowerPoint</Application>
  <PresentationFormat>Custom</PresentationFormat>
  <Lines>0</Lines>
  <Paragraphs>476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8" baseType="lpstr">
      <vt:lpstr>Gill Sans</vt:lpstr>
      <vt:lpstr>ヒラギノ角ゴ ProN W3</vt:lpstr>
      <vt:lpstr>Arial</vt:lpstr>
      <vt:lpstr>Calibri</vt:lpstr>
      <vt:lpstr>Title &amp; Bullets</vt:lpstr>
      <vt:lpstr>Bullets</vt:lpstr>
      <vt:lpstr>Title - Center</vt:lpstr>
      <vt:lpstr>Title &amp; Subtitle</vt:lpstr>
      <vt:lpstr>Photo - Horizontal</vt:lpstr>
      <vt:lpstr>Photo - Horizontal Reflection</vt:lpstr>
      <vt:lpstr>Photo - Vertical</vt:lpstr>
      <vt:lpstr>Photo - Vertical Reflection</vt:lpstr>
      <vt:lpstr>Title - Top</vt:lpstr>
      <vt:lpstr>Blank</vt:lpstr>
      <vt:lpstr>Title &amp; Bullets - Left</vt:lpstr>
      <vt:lpstr>Title &amp; Bullets - 2 Column</vt:lpstr>
      <vt:lpstr>Title &amp; Bullets - Right</vt:lpstr>
      <vt:lpstr>Title, Bullets &amp; Phot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hn, Justin</dc:creator>
  <cp:lastModifiedBy>Kahn, Justin</cp:lastModifiedBy>
  <cp:revision>33</cp:revision>
  <cp:lastPrinted>2016-08-26T19:34:33Z</cp:lastPrinted>
  <dcterms:modified xsi:type="dcterms:W3CDTF">2016-08-26T22:03:04Z</dcterms:modified>
</cp:coreProperties>
</file>